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4028" r:id="rId1"/>
  </p:sldMasterIdLst>
  <p:notesMasterIdLst>
    <p:notesMasterId r:id="rId5"/>
  </p:notesMasterIdLst>
  <p:handoutMasterIdLst>
    <p:handoutMasterId r:id="rId6"/>
  </p:handoutMasterIdLst>
  <p:sldIdLst>
    <p:sldId id="289" r:id="rId2"/>
    <p:sldId id="298" r:id="rId3"/>
    <p:sldId id="29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/>
        </p14:section>
        <p14:section name="Intro" id="{2A7242DC-929E-4579-8F10-2B02EF80F144}">
          <p14:sldIdLst>
            <p14:sldId id="289"/>
            <p14:sldId id="298"/>
            <p14:sldId id="299"/>
          </p14:sldIdLst>
        </p14:section>
        <p14:section name="Demo" id="{FD1E6B44-63E4-4285-A079-29EC5D274920}">
          <p14:sldIdLst/>
        </p14:section>
        <p14:section name="Solution" id="{166B4E13-456F-4DE7-8043-47B198AC9D32}">
          <p14:sldIdLst/>
        </p14:section>
        <p14:section name="Goodbye" id="{8355E7C8-F29E-45A3-97E6-C2F99725F3F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i Muhammad" initials="WM" lastIdx="1" clrIdx="0">
    <p:extLst>
      <p:ext uri="{19B8F6BF-5375-455C-9EA6-DF929625EA0E}">
        <p15:presenceInfo xmlns:p15="http://schemas.microsoft.com/office/powerpoint/2012/main" userId="Wali Muhamma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4660"/>
  </p:normalViewPr>
  <p:slideViewPr>
    <p:cSldViewPr snapToGrid="0" showGuides="1">
      <p:cViewPr varScale="1">
        <p:scale>
          <a:sx n="129" d="100"/>
          <a:sy n="129" d="100"/>
        </p:scale>
        <p:origin x="2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1294E-E5A8-4AC0-BC36-C2BA5440625C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83E7E-9DFE-4A1E-AEC2-D2E19E891C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10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47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081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976338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1597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430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012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7652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755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925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6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075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57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395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CA19F-F0FE-4DCC-B5B7-AEC09C2EEB08}" type="datetimeFigureOut">
              <a:rPr lang="en-US" smtClean="0"/>
              <a:t>2/6/2025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A20B7-FD95-46D5-8BDA-E105A6B63F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85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113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705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2/6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63A84F50-2304-43CE-898D-518766B7E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51" imgH="450" progId="TCLayout.ActiveDocument.1">
                  <p:embed/>
                </p:oleObj>
              </mc:Choice>
              <mc:Fallback>
                <p:oleObj name="think-cell Slide" r:id="rId25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63A84F50-2304-43CE-898D-518766B7E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776F17CD-3995-44DC-8EB9-0761A6494EA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FF2D7D6-A61F-496A-94DE-DCAB11005CC1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083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  <p:sldLayoutId id="2147484045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>
          <p15:clr>
            <a:srgbClr val="C35EA4"/>
          </p15:clr>
        </p15:guide>
        <p15:guide id="2" pos="7328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302668C-A990-4052-907B-32DDA108A5FD}"/>
              </a:ext>
            </a:extLst>
          </p:cNvPr>
          <p:cNvSpPr txBox="1"/>
          <p:nvPr/>
        </p:nvSpPr>
        <p:spPr>
          <a:xfrm>
            <a:off x="1049566" y="617603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Introduction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8032698-9592-452A-BC82-37ABDD8C170A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582A47-91D0-4530-82F1-9768ADDAC87B}"/>
              </a:ext>
            </a:extLst>
          </p:cNvPr>
          <p:cNvSpPr txBox="1"/>
          <p:nvPr/>
        </p:nvSpPr>
        <p:spPr>
          <a:xfrm>
            <a:off x="960355" y="1890117"/>
            <a:ext cx="8607391" cy="387798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The Trait Theory of Leadership posits that effective leaders possess certain inherent personality traits that distinguish them from non-leader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This perspective suggests that leadership qualities are innate and can be identified through specific characteristic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93A7DCB-668F-424D-9B0D-0367477EF40D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5461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0581B-EAE4-2B53-A4F1-7E5A1346D1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EC98244-C743-FD21-E2DF-57948C4E5C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18B3BD3-BD20-D88E-CE97-06AAC18FD60B}"/>
              </a:ext>
            </a:extLst>
          </p:cNvPr>
          <p:cNvSpPr txBox="1"/>
          <p:nvPr/>
        </p:nvSpPr>
        <p:spPr>
          <a:xfrm>
            <a:off x="1233225" y="751418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Key Assumption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2DEDF2D-1D53-1717-B49A-476E138EEFF8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AF181E-1341-9B62-81DC-D3818AF83259}"/>
              </a:ext>
            </a:extLst>
          </p:cNvPr>
          <p:cNvSpPr txBox="1"/>
          <p:nvPr/>
        </p:nvSpPr>
        <p:spPr>
          <a:xfrm>
            <a:off x="789369" y="2136338"/>
            <a:ext cx="8607391" cy="255454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Innate Traits</a:t>
            </a:r>
            <a:r>
              <a:rPr lang="en-US" sz="2400" dirty="0"/>
              <a:t>: Leaders have inborn traits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Consistency Across Situations</a:t>
            </a:r>
            <a:r>
              <a:rPr lang="en-US" sz="2400" dirty="0"/>
              <a:t>: Traits lead to consistent behavior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400" b="1" dirty="0"/>
              <a:t>Predictability of Leadership</a:t>
            </a:r>
            <a:r>
              <a:rPr lang="en-US" sz="2400" dirty="0"/>
              <a:t>: People with these traits tend to become leaders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068D556-C152-F41C-F801-DD019444FCD8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94110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B37276-FAF3-A812-8B07-3FC8E04612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7E08B-6D5A-89FE-FF12-CD966203B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EC98244-C743-FD21-E2DF-57948C4E5C5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0B9C258-9939-8F8D-B51F-1CF571929E0D}"/>
              </a:ext>
            </a:extLst>
          </p:cNvPr>
          <p:cNvSpPr txBox="1"/>
          <p:nvPr/>
        </p:nvSpPr>
        <p:spPr>
          <a:xfrm>
            <a:off x="1233225" y="751418"/>
            <a:ext cx="80616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Examp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C3BA162-8AC7-50E2-FB57-0C31E5A85C91}"/>
              </a:ext>
            </a:extLst>
          </p:cNvPr>
          <p:cNvSpPr/>
          <p:nvPr/>
        </p:nvSpPr>
        <p:spPr>
          <a:xfrm>
            <a:off x="10220501" y="-182453"/>
            <a:ext cx="1638269" cy="7059946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rgbClr val="0A193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79A27F-FF7B-5E9F-D525-D64D3134E7A9}"/>
              </a:ext>
            </a:extLst>
          </p:cNvPr>
          <p:cNvSpPr txBox="1"/>
          <p:nvPr/>
        </p:nvSpPr>
        <p:spPr>
          <a:xfrm>
            <a:off x="789369" y="2136338"/>
            <a:ext cx="8176211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Alexander</a:t>
            </a:r>
            <a:r>
              <a:rPr lang="en-US" sz="2400" dirty="0"/>
              <a:t> the Great had traits like determination and charm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These traits helped him lead and grow his empire.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AAEB209-32E0-0555-1ADF-D2C9FC686BBB}"/>
              </a:ext>
            </a:extLst>
          </p:cNvPr>
          <p:cNvSpPr/>
          <p:nvPr/>
        </p:nvSpPr>
        <p:spPr>
          <a:xfrm>
            <a:off x="376935" y="5671423"/>
            <a:ext cx="1638269" cy="1439464"/>
          </a:xfrm>
          <a:custGeom>
            <a:avLst/>
            <a:gdLst>
              <a:gd name="connsiteX0" fmla="*/ 7144 w 4124325"/>
              <a:gd name="connsiteY0" fmla="*/ 7144 h 6867525"/>
              <a:gd name="connsiteX1" fmla="*/ 4122516 w 4124325"/>
              <a:gd name="connsiteY1" fmla="*/ 7144 h 6867525"/>
              <a:gd name="connsiteX2" fmla="*/ 4122516 w 4124325"/>
              <a:gd name="connsiteY2" fmla="*/ 6865144 h 6867525"/>
              <a:gd name="connsiteX3" fmla="*/ 7145 w 4124325"/>
              <a:gd name="connsiteY3" fmla="*/ 6865144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4325" h="6867525">
                <a:moveTo>
                  <a:pt x="7144" y="7144"/>
                </a:moveTo>
                <a:lnTo>
                  <a:pt x="4122516" y="7144"/>
                </a:lnTo>
                <a:lnTo>
                  <a:pt x="4122516" y="6865144"/>
                </a:lnTo>
                <a:lnTo>
                  <a:pt x="7145" y="686514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4681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0E5580"/>
      </a:dk2>
      <a:lt2>
        <a:srgbClr val="EBEBEB"/>
      </a:lt2>
      <a:accent1>
        <a:srgbClr val="ACD433"/>
      </a:accent1>
      <a:accent2>
        <a:srgbClr val="E6C133"/>
      </a:accent2>
      <a:accent3>
        <a:srgbClr val="EF7A24"/>
      </a:accent3>
      <a:accent4>
        <a:srgbClr val="5AA0F5"/>
      </a:accent4>
      <a:accent5>
        <a:srgbClr val="75CEEC"/>
      </a:accent5>
      <a:accent6>
        <a:srgbClr val="65D6A0"/>
      </a:accent6>
      <a:hlink>
        <a:srgbClr val="C4E46E"/>
      </a:hlink>
      <a:folHlink>
        <a:srgbClr val="BDE0F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6072</TotalTime>
  <Words>91</Words>
  <Application>Microsoft Office PowerPoint</Application>
  <PresentationFormat>Widescreen</PresentationFormat>
  <Paragraphs>1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entury Gothic</vt:lpstr>
      <vt:lpstr>Segoe UI Black</vt:lpstr>
      <vt:lpstr>Segoe UI Semibold</vt:lpstr>
      <vt:lpstr>Wingdings 3</vt:lpstr>
      <vt:lpstr>Ion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i Muhammad;walim</dc:creator>
  <cp:keywords>NRG</cp:keywords>
  <cp:lastModifiedBy>Zain Ali</cp:lastModifiedBy>
  <cp:revision>164</cp:revision>
  <dcterms:created xsi:type="dcterms:W3CDTF">2018-05-09T07:34:30Z</dcterms:created>
  <dcterms:modified xsi:type="dcterms:W3CDTF">2025-02-06T17:4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